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3.xml" ContentType="application/vnd.openxmlformats-officedocument.presentationml.notesSlide+xml"/>
  <Override PartName="/ppt/tags/tag19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2" r:id="rId1"/>
  </p:sldMasterIdLst>
  <p:notesMasterIdLst>
    <p:notesMasterId r:id="rId28"/>
  </p:notesMasterIdLst>
  <p:handoutMasterIdLst>
    <p:handoutMasterId r:id="rId29"/>
  </p:handoutMasterIdLst>
  <p:sldIdLst>
    <p:sldId id="256" r:id="rId2"/>
    <p:sldId id="320" r:id="rId3"/>
    <p:sldId id="301" r:id="rId4"/>
    <p:sldId id="302" r:id="rId5"/>
    <p:sldId id="303" r:id="rId6"/>
    <p:sldId id="304" r:id="rId7"/>
    <p:sldId id="306" r:id="rId8"/>
    <p:sldId id="307" r:id="rId9"/>
    <p:sldId id="308" r:id="rId10"/>
    <p:sldId id="319" r:id="rId11"/>
    <p:sldId id="309" r:id="rId12"/>
    <p:sldId id="310" r:id="rId13"/>
    <p:sldId id="311" r:id="rId14"/>
    <p:sldId id="312" r:id="rId15"/>
    <p:sldId id="325" r:id="rId16"/>
    <p:sldId id="326" r:id="rId17"/>
    <p:sldId id="286" r:id="rId18"/>
    <p:sldId id="287" r:id="rId19"/>
    <p:sldId id="288" r:id="rId20"/>
    <p:sldId id="289" r:id="rId21"/>
    <p:sldId id="290" r:id="rId22"/>
    <p:sldId id="291" r:id="rId23"/>
    <p:sldId id="327" r:id="rId24"/>
    <p:sldId id="313" r:id="rId25"/>
    <p:sldId id="316" r:id="rId26"/>
    <p:sldId id="318" r:id="rId27"/>
  </p:sldIdLst>
  <p:sldSz cx="9144000" cy="6858000" type="screen4x3"/>
  <p:notesSz cx="6858000" cy="9144000"/>
  <p:custDataLst>
    <p:tags r:id="rId3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676D"/>
    <a:srgbClr val="1E876E"/>
    <a:srgbClr val="1E8795"/>
    <a:srgbClr val="56AE66"/>
    <a:srgbClr val="95C792"/>
    <a:srgbClr val="DDECD9"/>
    <a:srgbClr val="F99D1C"/>
    <a:srgbClr val="295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10"/>
    <p:restoredTop sz="96866" autoAdjust="0"/>
  </p:normalViewPr>
  <p:slideViewPr>
    <p:cSldViewPr>
      <p:cViewPr varScale="1">
        <p:scale>
          <a:sx n="117" d="100"/>
          <a:sy n="117" d="100"/>
        </p:scale>
        <p:origin x="-1464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084E94-46B8-4D8C-ADAE-214F2FBA983C}" type="datetimeFigureOut">
              <a:rPr lang="ru-RU" smtClean="0"/>
              <a:t>07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6A2C2F-F337-419C-8C33-A7411F3D581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1247786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5CFA28-6F47-4F98-947E-CA17F3B5A392}" type="datetimeFigureOut">
              <a:rPr lang="ru-RU" smtClean="0"/>
              <a:pPr/>
              <a:t>07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0C4CCE-5367-4D7A-9242-49C87954251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52887912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Circe" pitchFamily="34" charset="-52"/>
              </a:rPr>
              <a:t>ПИГМАЛИОН И ГАЛАТЕЯ. </a:t>
            </a:r>
            <a:r>
              <a:rPr lang="ru-RU" sz="1200" dirty="0">
                <a:latin typeface="Circe" pitchFamily="34" charset="-52"/>
              </a:rPr>
              <a:t>Художник Луи </a:t>
            </a:r>
            <a:r>
              <a:rPr lang="ru-RU" sz="1200" dirty="0" err="1">
                <a:latin typeface="Circe" pitchFamily="34" charset="-52"/>
              </a:rPr>
              <a:t>Гофье</a:t>
            </a:r>
            <a:r>
              <a:rPr lang="ru-RU" sz="1200" dirty="0">
                <a:latin typeface="Circe" pitchFamily="34" charset="-52"/>
              </a:rPr>
              <a:t>. Холст, масло. 1797. Манчестерская художественная галерея. Манчестер, Великобритания</a:t>
            </a:r>
            <a:endParaRPr lang="ru-RU" sz="1200" baseline="30000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720130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5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80629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6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77475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98287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kern="0" dirty="0">
                <a:latin typeface="Circe" pitchFamily="34" charset="-52"/>
              </a:rPr>
              <a:t>В переводе с греческого </a:t>
            </a:r>
            <a:r>
              <a:rPr lang="en-US" sz="1200" i="1" kern="0" dirty="0" err="1">
                <a:latin typeface="Circe" pitchFamily="34" charset="-52"/>
              </a:rPr>
              <a:t>dromeas</a:t>
            </a:r>
            <a:r>
              <a:rPr lang="en-US" sz="1200" kern="0" dirty="0">
                <a:latin typeface="Circe" pitchFamily="34" charset="-52"/>
              </a:rPr>
              <a:t> </a:t>
            </a:r>
            <a:r>
              <a:rPr lang="ru-RU" sz="1200" kern="0" dirty="0">
                <a:latin typeface="Circe" pitchFamily="34" charset="-52"/>
              </a:rPr>
              <a:t>означает </a:t>
            </a:r>
            <a:r>
              <a:rPr lang="ru-RU" sz="1200" i="1" kern="0" dirty="0">
                <a:latin typeface="Circe" pitchFamily="34" charset="-52"/>
              </a:rPr>
              <a:t>бегун</a:t>
            </a:r>
            <a:r>
              <a:rPr lang="ru-RU" sz="1200" kern="0" dirty="0">
                <a:latin typeface="Circe" pitchFamily="34" charset="-52"/>
              </a:rPr>
              <a:t>. Автор посвятил работу национальному герою Греции, обычному почтальону Спиридону Луису, который в 1896 году на первых современных Олимпийских играх выиграл</a:t>
            </a:r>
            <a:r>
              <a:rPr lang="en-US" sz="1200" kern="0" dirty="0">
                <a:latin typeface="Circe" pitchFamily="34" charset="-52"/>
              </a:rPr>
              <a:t> </a:t>
            </a:r>
            <a:r>
              <a:rPr lang="ru-RU" sz="1200" kern="0" dirty="0">
                <a:latin typeface="Circe" pitchFamily="34" charset="-52"/>
              </a:rPr>
              <a:t>40-километровую марафонскую гонку, завоевав тем самым золотую медаль.</a:t>
            </a:r>
            <a:r>
              <a:rPr lang="en-US" sz="1200" kern="0" dirty="0">
                <a:latin typeface="Circe" pitchFamily="34" charset="-52"/>
              </a:rPr>
              <a:t> </a:t>
            </a:r>
            <a:r>
              <a:rPr lang="ru-RU" sz="1200" kern="0" dirty="0">
                <a:latin typeface="Circe" pitchFamily="34" charset="-52"/>
              </a:rPr>
              <a:t>«</a:t>
            </a:r>
            <a:r>
              <a:rPr lang="ru-RU" sz="1200" kern="0" dirty="0" err="1">
                <a:latin typeface="Circe" pitchFamily="34" charset="-52"/>
              </a:rPr>
              <a:t>Дромеас</a:t>
            </a:r>
            <a:r>
              <a:rPr lang="ru-RU" sz="1200" kern="0" dirty="0">
                <a:latin typeface="Circe" pitchFamily="34" charset="-52"/>
              </a:rPr>
              <a:t>» сложен из множества стеклянных пластин на металлическом каркасе. Он создавался для фестиваля современных искусств в Афинах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17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59078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>
                <a:latin typeface="Circe" pitchFamily="34" charset="-52"/>
              </a:rPr>
              <a:t>Полая внутри скульптура сделана из мелких элементов — заглавных букв латинского алфавита. «Эта скульптура символизирует свободу, — говорит автор. —</a:t>
            </a:r>
            <a:r>
              <a:rPr lang="en-US" sz="1200" dirty="0">
                <a:latin typeface="Circe" pitchFamily="34" charset="-52"/>
              </a:rPr>
              <a:t> </a:t>
            </a:r>
            <a:r>
              <a:rPr lang="ru-RU" sz="1200" dirty="0">
                <a:latin typeface="Circe" pitchFamily="34" charset="-52"/>
              </a:rPr>
              <a:t>А почему именно буквы? Да просто потому, что буквы символизируют большой багаж знаний и опыта, тяжёлых проблем, которыми озадачен странник. А если же кто-то пожелает зайти, то он наполнит своей душой “странника”. И лишь тогда можно будет с уверенностью сказать, что скульптура завершена!»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18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29559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>
                <a:latin typeface="Circe" pitchFamily="34" charset="-52"/>
              </a:rPr>
              <a:t>Статуи Али и </a:t>
            </a:r>
            <a:r>
              <a:rPr lang="ru-RU" sz="1200" dirty="0" err="1">
                <a:latin typeface="Circe" pitchFamily="34" charset="-52"/>
              </a:rPr>
              <a:t>Нино</a:t>
            </a:r>
            <a:r>
              <a:rPr lang="ru-RU" sz="1200" dirty="0">
                <a:latin typeface="Circe" pitchFamily="34" charset="-52"/>
              </a:rPr>
              <a:t> медленно двигаются навстречу друг другу, сливаются в единое целое и затем так</a:t>
            </a:r>
            <a:r>
              <a:rPr lang="en-US" sz="1200" dirty="0">
                <a:latin typeface="Circe" pitchFamily="34" charset="-52"/>
              </a:rPr>
              <a:t>  </a:t>
            </a:r>
            <a:r>
              <a:rPr lang="ru-RU" sz="1200" dirty="0">
                <a:latin typeface="Circe" pitchFamily="34" charset="-52"/>
              </a:rPr>
              <a:t>же медленно удаляются друг от друга. Скульптурная композиция отсылает нас к популярному роману (1937)</a:t>
            </a:r>
            <a:r>
              <a:rPr lang="en-US" sz="1200" dirty="0">
                <a:latin typeface="Circe" pitchFamily="34" charset="-52"/>
              </a:rPr>
              <a:t> </a:t>
            </a:r>
            <a:r>
              <a:rPr lang="ru-RU" sz="1200" dirty="0">
                <a:latin typeface="Circe" pitchFamily="34" charset="-52"/>
              </a:rPr>
              <a:t>о любви азербайджанца-мусульманина Али и грузинки-христианки </a:t>
            </a:r>
            <a:r>
              <a:rPr lang="ru-RU" sz="1200" dirty="0" err="1">
                <a:latin typeface="Circe" pitchFamily="34" charset="-52"/>
              </a:rPr>
              <a:t>Нино</a:t>
            </a:r>
            <a:r>
              <a:rPr lang="ru-RU" sz="1200" dirty="0">
                <a:latin typeface="Circe" pitchFamily="34" charset="-52"/>
              </a:rPr>
              <a:t>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19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28439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>
                <a:latin typeface="Circe" pitchFamily="34" charset="-52"/>
              </a:rPr>
              <a:t>На территории парка </a:t>
            </a:r>
            <a:r>
              <a:rPr lang="ru-RU" sz="1200" dirty="0" err="1">
                <a:latin typeface="Circe" pitchFamily="34" charset="-52"/>
              </a:rPr>
              <a:t>Мортон</a:t>
            </a:r>
            <a:r>
              <a:rPr lang="ru-RU" sz="1200" dirty="0">
                <a:latin typeface="Circe" pitchFamily="34" charset="-52"/>
              </a:rPr>
              <a:t> в Ванкувере размещены 14 скульптур значительно выше человеческого роста, которые вместе составляют композицию «Лабиринт смеха». Сопровождающая табличка гласит: «Может быть, эта скульптура вдохновит на смех и радость всех, кто на нее посмотрит».</a:t>
            </a:r>
            <a:r>
              <a:rPr lang="en-US" sz="1200" dirty="0">
                <a:latin typeface="Circe" pitchFamily="34" charset="-52"/>
              </a:rPr>
              <a:t> </a:t>
            </a:r>
            <a:r>
              <a:rPr lang="ru-RU" sz="1200" dirty="0">
                <a:latin typeface="Circe" pitchFamily="34" charset="-52"/>
              </a:rPr>
              <a:t>Автор скульптурной композиции </a:t>
            </a:r>
            <a:r>
              <a:rPr lang="ru-RU" sz="1200" dirty="0" err="1">
                <a:latin typeface="Circe" pitchFamily="34" charset="-52"/>
              </a:rPr>
              <a:t>Юэ</a:t>
            </a:r>
            <a:r>
              <a:rPr lang="ru-RU" sz="1200" dirty="0">
                <a:latin typeface="Circe" pitchFamily="34" charset="-52"/>
              </a:rPr>
              <a:t> </a:t>
            </a:r>
            <a:r>
              <a:rPr lang="ru-RU" sz="1200" dirty="0" err="1">
                <a:latin typeface="Circe" pitchFamily="34" charset="-52"/>
              </a:rPr>
              <a:t>Минчжун</a:t>
            </a:r>
            <a:r>
              <a:rPr lang="ru-RU" sz="1200" dirty="0">
                <a:latin typeface="Circe" pitchFamily="34" charset="-52"/>
              </a:rPr>
              <a:t> работает в жанре китайского искусства «циничный реализм», которое зародилось в Пекине в конце 1980-х год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0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17761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>
                <a:latin typeface="Circe" pitchFamily="34" charset="-52"/>
              </a:rPr>
              <a:t>Создававшаяся к выставке «Респект 97», скульптура олицетворяет образ австрийского психоаналитика, основателя психоанализа Зигмунда Фрейда, зависшего над пропастью Бессознательного.</a:t>
            </a:r>
          </a:p>
          <a:p>
            <a:endParaRPr lang="ru-RU" sz="1200" dirty="0">
              <a:latin typeface="Circe" pitchFamily="34" charset="-52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1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29742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dirty="0">
                <a:latin typeface="Circe" pitchFamily="34" charset="-52"/>
              </a:rPr>
              <a:t>Памятник стоит в Сараево на площади Освобождения, где соседствуют православная церковь и католический собор</a:t>
            </a:r>
            <a:r>
              <a:rPr lang="en-US" sz="1200" dirty="0">
                <a:latin typeface="Circe" pitchFamily="34" charset="-52"/>
              </a:rPr>
              <a:t> </a:t>
            </a:r>
            <a:r>
              <a:rPr lang="ru-RU" sz="1200" dirty="0">
                <a:latin typeface="Circe" pitchFamily="34" charset="-52"/>
              </a:rPr>
              <a:t>и мечеть. По замыслу автора, он символизирует мирное сосуществование мусульман и христиан.</a:t>
            </a:r>
            <a:r>
              <a:rPr lang="en-US" sz="1200" dirty="0">
                <a:latin typeface="Circe" pitchFamily="34" charset="-52"/>
              </a:rPr>
              <a:t> </a:t>
            </a:r>
            <a:r>
              <a:rPr lang="ru-RU" sz="1200" dirty="0">
                <a:latin typeface="Circe" pitchFamily="34" charset="-52"/>
              </a:rPr>
              <a:t>Является даром Италии в честь официального признания Боснии и Герцеговины суверенным государством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2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6791924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0C4CCE-5367-4D7A-9242-49C879542513}" type="slidenum">
              <a:rPr lang="ru-RU" smtClean="0"/>
              <a:pPr/>
              <a:t>24</a:t>
            </a:fld>
            <a:endParaRPr lang="ru-RU"/>
          </a:p>
        </p:txBody>
      </p:sp>
      <p:sp>
        <p:nvSpPr>
          <p:cNvPr id="5" name="Верхний колонтитул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35247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tags" Target="../tags/tag9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3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6495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800" b="1" i="0" baseline="0" dirty="0">
              <a:latin typeface="Circe"/>
              <a:ea typeface="+mj-ea"/>
              <a:cs typeface="+mj-cs"/>
              <a:sym typeface="Circe"/>
            </a:endParaRPr>
          </a:p>
        </p:txBody>
      </p:sp>
      <p:pic>
        <p:nvPicPr>
          <p:cNvPr id="7" name="Рисунок 6" descr="background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1142"/>
            <a:ext cx="9144000" cy="685571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685800" y="3428999"/>
            <a:ext cx="7772400" cy="1470025"/>
          </a:xfrm>
        </p:spPr>
        <p:txBody>
          <a:bodyPr>
            <a:normAutofit/>
          </a:bodyPr>
          <a:lstStyle>
            <a:lvl1pPr>
              <a:defRPr lang="ru-RU" sz="2800" b="1" kern="1200" spc="300" dirty="0">
                <a:solidFill>
                  <a:schemeClr val="tx2"/>
                </a:solidFill>
                <a:latin typeface="Circe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1371600" y="2708920"/>
            <a:ext cx="6400800" cy="360040"/>
          </a:xfrm>
        </p:spPr>
        <p:txBody>
          <a:bodyPr>
            <a:normAutofit/>
          </a:bodyPr>
          <a:lstStyle>
            <a:lvl1pPr marL="0" indent="0" algn="ctr">
              <a:buNone/>
              <a:defRPr lang="ru-RU" sz="1800" kern="1200" dirty="0">
                <a:solidFill>
                  <a:schemeClr val="accent6">
                    <a:lumMod val="75000"/>
                  </a:schemeClr>
                </a:solidFill>
                <a:latin typeface="Circe"/>
                <a:ea typeface="+mj-ea"/>
                <a:cs typeface="+mj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ОБРАЗЕЦ ПОДЗАГОЛОВКА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2048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3200" b="1" i="0" baseline="0" dirty="0">
              <a:latin typeface="Circe"/>
              <a:ea typeface="+mn-ea"/>
              <a:cs typeface="+mn-cs"/>
              <a:sym typeface="Circe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1196752"/>
            <a:ext cx="1187624" cy="43204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 descr="background_2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9144000" cy="1058587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0" y="6713984"/>
            <a:ext cx="9144000" cy="14401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95536" y="1236066"/>
            <a:ext cx="927374" cy="536750"/>
          </a:xfrm>
          <a:prstGeom prst="rect">
            <a:avLst/>
          </a:prstGeom>
        </p:spPr>
        <p:txBody>
          <a:bodyPr/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fld id="{7D771504-154C-45A0-83BA-8CDCF208AE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178894" y="1196750"/>
            <a:ext cx="6849490" cy="432050"/>
          </a:xfrm>
        </p:spPr>
        <p:txBody>
          <a:bodyPr>
            <a:normAutofit/>
          </a:bodyPr>
          <a:lstStyle>
            <a:lvl1pPr>
              <a:defRPr lang="ru-RU" sz="3200" b="1" kern="1200" baseline="30000" dirty="0">
                <a:solidFill>
                  <a:schemeClr val="tx2"/>
                </a:solidFill>
                <a:latin typeface="Circe" pitchFamily="34" charset="-52"/>
                <a:ea typeface="+mn-ea"/>
                <a:cs typeface="+mn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3"/>
          </p:nvPr>
        </p:nvSpPr>
        <p:spPr>
          <a:xfrm>
            <a:off x="395536" y="2024844"/>
            <a:ext cx="8352928" cy="443711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48299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8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3200" b="1" i="0" baseline="0" dirty="0">
              <a:latin typeface="Circe"/>
              <a:ea typeface="+mn-ea"/>
              <a:cs typeface="+mn-cs"/>
              <a:sym typeface="Circe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1196752"/>
            <a:ext cx="1187624" cy="43204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 descr="background_2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9144000" cy="1058587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0" y="6713984"/>
            <a:ext cx="9144000" cy="14401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178894" y="1196750"/>
            <a:ext cx="6849490" cy="432050"/>
          </a:xfrm>
        </p:spPr>
        <p:txBody>
          <a:bodyPr>
            <a:normAutofit/>
          </a:bodyPr>
          <a:lstStyle>
            <a:lvl1pPr>
              <a:defRPr lang="ru-RU" sz="3200" b="1" kern="1200" baseline="30000" dirty="0">
                <a:solidFill>
                  <a:schemeClr val="tx2"/>
                </a:solidFill>
                <a:latin typeface="Circe" pitchFamily="34" charset="-52"/>
                <a:ea typeface="+mn-ea"/>
                <a:cs typeface="+mn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13" name="Рисунок 12" descr="fonchik.jpg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7812360" y="1772816"/>
            <a:ext cx="1094992" cy="1940803"/>
          </a:xfrm>
          <a:prstGeom prst="rect">
            <a:avLst/>
          </a:prstGeom>
        </p:spPr>
      </p:pic>
      <p:pic>
        <p:nvPicPr>
          <p:cNvPr id="14" name="Рисунок 13" descr="fonchik_2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0" y="3356992"/>
            <a:ext cx="1636776" cy="2456688"/>
          </a:xfrm>
          <a:prstGeom prst="rect">
            <a:avLst/>
          </a:prstGeom>
        </p:spPr>
      </p:pic>
      <p:sp>
        <p:nvSpPr>
          <p:cNvPr id="1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91571" y="1236066"/>
            <a:ext cx="927374" cy="536750"/>
          </a:xfrm>
          <a:prstGeom prst="rect">
            <a:avLst/>
          </a:prstGeom>
        </p:spPr>
        <p:txBody>
          <a:bodyPr/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fld id="{7D771504-154C-45A0-83BA-8CDCF208AE9B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7" name="Текст 14"/>
          <p:cNvSpPr>
            <a:spLocks noGrp="1"/>
          </p:cNvSpPr>
          <p:nvPr>
            <p:ph type="body" sz="quarter" idx="13"/>
          </p:nvPr>
        </p:nvSpPr>
        <p:spPr>
          <a:xfrm>
            <a:off x="1691680" y="2024844"/>
            <a:ext cx="6048672" cy="443711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2055312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9891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2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1500" b="0" i="0" baseline="0" dirty="0">
              <a:latin typeface="Circe"/>
              <a:ea typeface="+mn-ea"/>
              <a:cs typeface="+mn-cs"/>
              <a:sym typeface="Circe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1196752"/>
            <a:ext cx="1187624" cy="43204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Рисунок 7" descr="background_2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0" y="0"/>
            <a:ext cx="9144000" cy="1058587"/>
          </a:xfrm>
          <a:prstGeom prst="rect">
            <a:avLst/>
          </a:prstGeom>
        </p:spPr>
      </p:pic>
      <p:sp>
        <p:nvSpPr>
          <p:cNvPr id="9" name="Прямоугольник 8"/>
          <p:cNvSpPr/>
          <p:nvPr userDrawn="1"/>
        </p:nvSpPr>
        <p:spPr>
          <a:xfrm>
            <a:off x="0" y="6713984"/>
            <a:ext cx="9144000" cy="14401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539552" y="6204312"/>
            <a:ext cx="8352928" cy="432050"/>
          </a:xfrm>
        </p:spPr>
        <p:txBody>
          <a:bodyPr>
            <a:normAutofit/>
          </a:bodyPr>
          <a:lstStyle>
            <a:lvl1pPr marL="0" algn="ctr" defTabSz="914400" rtl="0" eaLnBrk="1" latinLnBrk="0" hangingPunct="1">
              <a:defRPr lang="ru-RU" sz="1500" b="0" kern="12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  <a:ea typeface="+mn-ea"/>
                <a:cs typeface="+mn-cs"/>
              </a:defRPr>
            </a:lvl1pPr>
          </a:lstStyle>
          <a:p>
            <a:r>
              <a:rPr lang="ru-RU" dirty="0"/>
              <a:t>Образец подписи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3"/>
          </p:nvPr>
        </p:nvSpPr>
        <p:spPr>
          <a:xfrm>
            <a:off x="539552" y="1916112"/>
            <a:ext cx="8352928" cy="4105176"/>
          </a:xfr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irce"/>
              </a:defRPr>
            </a:lvl1pPr>
          </a:lstStyle>
          <a:p>
            <a:endParaRPr lang="ru-RU"/>
          </a:p>
        </p:txBody>
      </p:sp>
      <p:sp>
        <p:nvSpPr>
          <p:cNvPr id="15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95536" y="1236066"/>
            <a:ext cx="927374" cy="536750"/>
          </a:xfrm>
          <a:prstGeom prst="rect">
            <a:avLst/>
          </a:prstGeom>
        </p:spPr>
        <p:txBody>
          <a:bodyPr/>
          <a:lstStyle>
            <a:lvl1pPr algn="ctr">
              <a:defRPr sz="2400" b="1">
                <a:solidFill>
                  <a:schemeClr val="bg1"/>
                </a:solidFill>
              </a:defRPr>
            </a:lvl1pPr>
          </a:lstStyle>
          <a:p>
            <a:fld id="{7D771504-154C-45A0-83BA-8CDCF208AE9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929460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75724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Слайд think-cell" r:id="rId9" imgW="353" imgH="353" progId="TCLayout.ActiveDocument.1">
                  <p:embed/>
                </p:oleObj>
              </mc:Choice>
              <mc:Fallback>
                <p:oleObj name="Слайд think-cell" r:id="rId9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3200" b="1" i="0" baseline="0" dirty="0">
              <a:latin typeface="Circe"/>
              <a:ea typeface="+mn-ea"/>
              <a:cs typeface="+mn-cs"/>
              <a:sym typeface="Circe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1196752"/>
            <a:ext cx="1187624" cy="43204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31640" y="1196752"/>
            <a:ext cx="7355160" cy="4320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2636912"/>
            <a:ext cx="8229600" cy="34892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84" r:id="rId3"/>
    <p:sldLayoutId id="2147483685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lang="ru-RU" sz="3200" b="1" kern="1200" baseline="30000" dirty="0">
          <a:solidFill>
            <a:srgbClr val="69676D"/>
          </a:solidFill>
          <a:latin typeface="Circe" pitchFamily="34" charset="-52"/>
          <a:ea typeface="+mn-ea"/>
          <a:cs typeface="+mn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rgbClr val="69676D"/>
          </a:solidFill>
          <a:latin typeface="Circe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rgbClr val="69676D"/>
          </a:solidFill>
          <a:latin typeface="Circe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rgbClr val="69676D"/>
          </a:solidFill>
          <a:latin typeface="Circe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rgbClr val="69676D"/>
          </a:solidFill>
          <a:latin typeface="Circe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rgbClr val="69676D"/>
          </a:solidFill>
          <a:latin typeface="Circe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9.jpg"/><Relationship Id="rId4" Type="http://schemas.openxmlformats.org/officeDocument/2006/relationships/image" Target="../media/image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5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6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7.jpeg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8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9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30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32.jpg"/><Relationship Id="rId2" Type="http://schemas.openxmlformats.org/officeDocument/2006/relationships/tags" Target="../tags/tag2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jpe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tif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023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0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4400" b="1" dirty="0">
              <a:latin typeface="Circe"/>
              <a:ea typeface="+mj-ea"/>
              <a:cs typeface="+mj-cs"/>
              <a:sym typeface="Circe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8032" y="2564904"/>
            <a:ext cx="7772400" cy="2592288"/>
          </a:xfrm>
        </p:spPr>
        <p:txBody>
          <a:bodyPr>
            <a:noAutofit/>
          </a:bodyPr>
          <a:lstStyle/>
          <a:p>
            <a:pPr>
              <a:spcBef>
                <a:spcPts val="2400"/>
              </a:spcBef>
              <a:spcAft>
                <a:spcPts val="6000"/>
              </a:spcAft>
            </a:pPr>
            <a:r>
              <a:rPr lang="ru-RU" sz="2400" b="0" spc="0" dirty="0">
                <a:solidFill>
                  <a:schemeClr val="accent6">
                    <a:lumMod val="75000"/>
                  </a:schemeClr>
                </a:solidFill>
                <a:latin typeface="Fedra Sans Pro Book" pitchFamily="34" charset="0"/>
                <a:ea typeface="Fedra Sans Pro Book" pitchFamily="34" charset="0"/>
              </a:rPr>
              <a:t>ПРОГРАММА</a:t>
            </a:r>
            <a:r>
              <a:rPr lang="en-US" sz="4000" b="0" dirty="0">
                <a:latin typeface="Fedra Sans Pro Book" pitchFamily="34" charset="0"/>
                <a:ea typeface="Fedra Sans Pro Book" pitchFamily="34" charset="0"/>
              </a:rPr>
              <a:t/>
            </a:r>
            <a:br>
              <a:rPr lang="en-US" sz="4000" b="0" dirty="0">
                <a:latin typeface="Fedra Sans Pro Book" pitchFamily="34" charset="0"/>
                <a:ea typeface="Fedra Sans Pro Book" pitchFamily="34" charset="0"/>
              </a:rPr>
            </a:br>
            <a:r>
              <a:rPr lang="en-US" sz="4000" dirty="0">
                <a:latin typeface="Fedra Sans Pro Book" pitchFamily="34" charset="0"/>
                <a:ea typeface="Fedra Sans Pro Book" pitchFamily="34" charset="0"/>
              </a:rPr>
              <a:t/>
            </a:r>
            <a:br>
              <a:rPr lang="en-US" sz="4000" dirty="0">
                <a:latin typeface="Fedra Sans Pro Book" pitchFamily="34" charset="0"/>
                <a:ea typeface="Fedra Sans Pro Book" pitchFamily="34" charset="0"/>
              </a:rPr>
            </a:br>
            <a:r>
              <a:rPr lang="ru-RU" sz="4400" b="1" spc="300" dirty="0" smtClean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РАЗВИТИЕ </a:t>
            </a:r>
            <a:r>
              <a:rPr lang="ru-RU" sz="4400" b="1" spc="300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ЛИЧНОСТНОГО</a:t>
            </a:r>
            <a:br>
              <a:rPr lang="ru-RU" sz="4400" b="1" spc="300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</a:br>
            <a:r>
              <a:rPr lang="ru-RU" sz="4400" b="1" spc="300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ПОТЕНЦИАЛА </a:t>
            </a:r>
            <a:r>
              <a:rPr lang="ru-RU" sz="4400" b="1" spc="300" dirty="0" smtClean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ПОДРОСТКОВ</a:t>
            </a:r>
            <a:r>
              <a:rPr lang="ru-RU" sz="6000" b="1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/>
            </a:r>
            <a:br>
              <a:rPr lang="ru-RU" sz="6000" b="1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</a:br>
            <a:endParaRPr lang="ru-RU" sz="4400" dirty="0">
              <a:solidFill>
                <a:schemeClr val="tx2"/>
              </a:solidFill>
              <a:latin typeface="Fedra Sans Pro Book" pitchFamily="34" charset="0"/>
              <a:ea typeface="Fedra Sans Pro Book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403648" y="4509120"/>
            <a:ext cx="6408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accent6">
                    <a:lumMod val="75000"/>
                  </a:schemeClr>
                </a:solidFill>
                <a:latin typeface="Fedra Serif A Pro Book" pitchFamily="18" charset="0"/>
                <a:ea typeface="Fedra Serif A Pro Book" pitchFamily="18" charset="0"/>
              </a:rPr>
              <a:t>Старшие подростки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 descr="ship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83568" y="6021288"/>
            <a:ext cx="2801112" cy="569976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691680" y="2564904"/>
            <a:ext cx="576064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>
                <a:solidFill>
                  <a:schemeClr val="accent6">
                    <a:lumMod val="75000"/>
                  </a:schemeClr>
                </a:solidFill>
                <a:latin typeface="Segoe Print" panose="02000600000000000000" pitchFamily="2" charset="0"/>
              </a:rPr>
              <a:t>Кто я?</a:t>
            </a:r>
          </a:p>
          <a:p>
            <a:pPr algn="ctr"/>
            <a:r>
              <a:rPr lang="ru-RU" sz="2800" dirty="0">
                <a:solidFill>
                  <a:schemeClr val="accent6">
                    <a:lumMod val="75000"/>
                  </a:schemeClr>
                </a:solidFill>
                <a:latin typeface="Segoe Print" panose="02000600000000000000" pitchFamily="2" charset="0"/>
              </a:rPr>
              <a:t>Какой я?</a:t>
            </a:r>
          </a:p>
          <a:p>
            <a:pPr algn="ctr"/>
            <a:r>
              <a:rPr lang="ru-RU" sz="2800" dirty="0">
                <a:solidFill>
                  <a:schemeClr val="accent6">
                    <a:lumMod val="75000"/>
                  </a:schemeClr>
                </a:solidFill>
                <a:latin typeface="Segoe Print" panose="02000600000000000000" pitchFamily="2" charset="0"/>
              </a:rPr>
              <a:t>Откуда я это знаю?</a:t>
            </a:r>
          </a:p>
          <a:p>
            <a:pPr algn="ctr"/>
            <a:r>
              <a:rPr lang="ru-RU" sz="2800" dirty="0">
                <a:solidFill>
                  <a:schemeClr val="accent6">
                    <a:lumMod val="75000"/>
                  </a:schemeClr>
                </a:solidFill>
                <a:latin typeface="Segoe Print" panose="02000600000000000000" pitchFamily="2" charset="0"/>
              </a:rPr>
              <a:t>Что я знаю о себе?</a:t>
            </a:r>
          </a:p>
          <a:p>
            <a:pPr algn="ctr"/>
            <a:r>
              <a:rPr lang="ru-RU" sz="2800" dirty="0">
                <a:solidFill>
                  <a:schemeClr val="accent6">
                    <a:lumMod val="75000"/>
                  </a:schemeClr>
                </a:solidFill>
                <a:latin typeface="Segoe Print" panose="02000600000000000000" pitchFamily="2" charset="0"/>
              </a:rPr>
              <a:t>Что я хочу знать о себе?</a:t>
            </a:r>
          </a:p>
          <a:p>
            <a:pPr algn="ctr"/>
            <a:r>
              <a:rPr lang="ru-RU" sz="2800" dirty="0">
                <a:solidFill>
                  <a:schemeClr val="accent6">
                    <a:lumMod val="75000"/>
                  </a:schemeClr>
                </a:solidFill>
                <a:latin typeface="Segoe Print" panose="02000600000000000000" pitchFamily="2" charset="0"/>
              </a:rPr>
              <a:t>Как я могу это узнать?</a:t>
            </a:r>
          </a:p>
        </p:txBody>
      </p:sp>
      <p:sp>
        <p:nvSpPr>
          <p:cNvPr id="11" name="Содержимое 11"/>
          <p:cNvSpPr>
            <a:spLocks noGrp="1"/>
          </p:cNvSpPr>
          <p:nvPr>
            <p:ph idx="4294967295"/>
          </p:nvPr>
        </p:nvSpPr>
        <p:spPr>
          <a:xfrm>
            <a:off x="1691680" y="1346375"/>
            <a:ext cx="5758504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Что значит быть собой?</a:t>
            </a:r>
          </a:p>
          <a:p>
            <a:pPr marL="0" indent="0" algn="ctr">
              <a:spcBef>
                <a:spcPts val="0"/>
              </a:spcBef>
              <a:buNone/>
            </a:pPr>
            <a:endParaRPr lang="ru-RU" b="1" baseline="30000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9</a:t>
            </a:r>
          </a:p>
        </p:txBody>
      </p:sp>
    </p:spTree>
    <p:extLst>
      <p:ext uri="{BB962C8B-B14F-4D97-AF65-F5344CB8AC3E}">
        <p14:creationId xmlns:p14="http://schemas.microsoft.com/office/powerpoint/2010/main" val="22829001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одержимое 11"/>
          <p:cNvSpPr>
            <a:spLocks noGrp="1"/>
          </p:cNvSpPr>
          <p:nvPr>
            <p:ph idx="4294967295"/>
          </p:nvPr>
        </p:nvSpPr>
        <p:spPr>
          <a:xfrm>
            <a:off x="865312" y="1237832"/>
            <a:ext cx="7628576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Окно </a:t>
            </a:r>
            <a:r>
              <a:rPr lang="ru-RU" b="1" baseline="30000" dirty="0" err="1">
                <a:solidFill>
                  <a:schemeClr val="tx2"/>
                </a:solidFill>
                <a:latin typeface="Circe" pitchFamily="34" charset="-52"/>
              </a:rPr>
              <a:t>Джохари</a:t>
            </a:r>
            <a:endParaRPr lang="ru-RU" b="1" baseline="30000" dirty="0">
              <a:solidFill>
                <a:schemeClr val="tx2"/>
              </a:solidFill>
              <a:latin typeface="Circe" pitchFamily="34" charset="-52"/>
            </a:endParaRPr>
          </a:p>
        </p:txBody>
      </p:sp>
      <p:pic>
        <p:nvPicPr>
          <p:cNvPr id="11" name="Рисунок 10" descr="plane_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5517232"/>
            <a:ext cx="1865376" cy="990600"/>
          </a:xfrm>
          <a:prstGeom prst="rect">
            <a:avLst/>
          </a:prstGeom>
        </p:spPr>
      </p:pic>
      <p:pic>
        <p:nvPicPr>
          <p:cNvPr id="13" name="Рисунок 12" descr="pla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92280" y="2708920"/>
            <a:ext cx="1883664" cy="1429512"/>
          </a:xfrm>
          <a:prstGeom prst="rect">
            <a:avLst/>
          </a:prstGeom>
        </p:spPr>
      </p:pic>
      <p:pic>
        <p:nvPicPr>
          <p:cNvPr id="28" name="Рисунок 27" descr="okno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610035" y="1772815"/>
            <a:ext cx="5986301" cy="4761067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395536" y="1196752"/>
            <a:ext cx="927374" cy="536750"/>
          </a:xfrm>
        </p:spPr>
        <p:txBody>
          <a:bodyPr/>
          <a:lstStyle/>
          <a:p>
            <a:r>
              <a:rPr lang="ru-R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31673569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 descr="plane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516216" y="1772816"/>
            <a:ext cx="1883664" cy="1429512"/>
          </a:xfrm>
          <a:prstGeom prst="rect">
            <a:avLst/>
          </a:prstGeom>
        </p:spPr>
      </p:pic>
      <p:pic>
        <p:nvPicPr>
          <p:cNvPr id="15" name="Рисунок 14" descr="fonchik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884368" y="3861048"/>
            <a:ext cx="1094992" cy="1940803"/>
          </a:xfrm>
          <a:prstGeom prst="rect">
            <a:avLst/>
          </a:prstGeom>
        </p:spPr>
      </p:pic>
      <p:pic>
        <p:nvPicPr>
          <p:cNvPr id="17" name="Рисунок 16" descr="fonchik_2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3356992"/>
            <a:ext cx="1636776" cy="2456688"/>
          </a:xfrm>
          <a:prstGeom prst="rect">
            <a:avLst/>
          </a:prstGeom>
        </p:spPr>
      </p:pic>
      <p:sp>
        <p:nvSpPr>
          <p:cNvPr id="18" name="Содержимое 11"/>
          <p:cNvSpPr txBox="1">
            <a:spLocks/>
          </p:cNvSpPr>
          <p:nvPr/>
        </p:nvSpPr>
        <p:spPr>
          <a:xfrm>
            <a:off x="865312" y="1237832"/>
            <a:ext cx="7628576" cy="34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itchFamily="34" charset="0"/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Окно</a:t>
            </a:r>
            <a:r>
              <a:rPr lang="ru-RU" b="1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Circe" pitchFamily="34" charset="-52"/>
              </a:rPr>
              <a:t> </a:t>
            </a:r>
            <a:r>
              <a:rPr lang="ru-RU" b="1" baseline="30000" dirty="0" err="1">
                <a:solidFill>
                  <a:schemeClr val="tx2"/>
                </a:solidFill>
                <a:latin typeface="Circe" pitchFamily="34" charset="-52"/>
              </a:rPr>
              <a:t>Джохари</a:t>
            </a:r>
            <a:endParaRPr lang="ru-RU" b="1" baseline="30000" dirty="0">
              <a:solidFill>
                <a:schemeClr val="tx2"/>
              </a:solidFill>
              <a:latin typeface="Circe" pitchFamily="34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11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0DB12489-CCC2-884E-A436-BEA7EA4591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1659728"/>
            <a:ext cx="4901620" cy="49016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7065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9379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Рисунок 16" descr="arena_2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123728" y="1699200"/>
            <a:ext cx="4896544" cy="4875618"/>
          </a:xfrm>
          <a:prstGeom prst="rect">
            <a:avLst/>
          </a:prstGeom>
        </p:spPr>
      </p:pic>
      <p:sp>
        <p:nvSpPr>
          <p:cNvPr id="12" name="Содержимое 11"/>
          <p:cNvSpPr txBox="1">
            <a:spLocks/>
          </p:cNvSpPr>
          <p:nvPr/>
        </p:nvSpPr>
        <p:spPr>
          <a:xfrm>
            <a:off x="865312" y="1237832"/>
            <a:ext cx="7628576" cy="34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itchFamily="34" charset="0"/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Окно </a:t>
            </a:r>
            <a:r>
              <a:rPr lang="ru-RU" b="1" baseline="30000" dirty="0" err="1">
                <a:solidFill>
                  <a:schemeClr val="tx2"/>
                </a:solidFill>
                <a:latin typeface="Circe" pitchFamily="34" charset="-52"/>
              </a:rPr>
              <a:t>Джохари</a:t>
            </a:r>
            <a:endParaRPr lang="ru-RU" b="1" baseline="30000" dirty="0">
              <a:solidFill>
                <a:schemeClr val="tx2"/>
              </a:solidFill>
              <a:latin typeface="Circe" pitchFamily="34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350177653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5308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8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Рисунок 10" descr="okno_2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123920" y="1699200"/>
            <a:ext cx="4824344" cy="4814014"/>
          </a:xfrm>
          <a:prstGeom prst="rect">
            <a:avLst/>
          </a:prstGeom>
        </p:spPr>
      </p:pic>
      <p:sp>
        <p:nvSpPr>
          <p:cNvPr id="10" name="Содержимое 11"/>
          <p:cNvSpPr txBox="1">
            <a:spLocks/>
          </p:cNvSpPr>
          <p:nvPr/>
        </p:nvSpPr>
        <p:spPr>
          <a:xfrm>
            <a:off x="865312" y="1237832"/>
            <a:ext cx="7628576" cy="3498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itchFamily="34" charset="0"/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Окно </a:t>
            </a:r>
            <a:r>
              <a:rPr lang="ru-RU" b="1" baseline="30000" dirty="0" err="1">
                <a:solidFill>
                  <a:schemeClr val="tx2"/>
                </a:solidFill>
                <a:latin typeface="Circe" pitchFamily="34" charset="-52"/>
              </a:rPr>
              <a:t>Джохари</a:t>
            </a:r>
            <a:endParaRPr lang="ru-RU" b="1" baseline="30000" dirty="0">
              <a:solidFill>
                <a:schemeClr val="tx2"/>
              </a:solidFill>
              <a:latin typeface="Circe" pitchFamily="34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13</a:t>
            </a:r>
          </a:p>
        </p:txBody>
      </p:sp>
    </p:spTree>
    <p:extLst>
      <p:ext uri="{BB962C8B-B14F-4D97-AF65-F5344CB8AC3E}">
        <p14:creationId xmlns:p14="http://schemas.microsoft.com/office/powerpoint/2010/main" val="122186030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14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F3B4E032-753D-4348-A6B8-94A4EAB339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5113" y="1363954"/>
            <a:ext cx="6393773" cy="488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38243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15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xmlns="" id="{06405EE0-F162-4A43-9E61-CED21A72931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3776" y="1772816"/>
            <a:ext cx="1230819" cy="4752528"/>
          </a:xfrm>
          <a:prstGeom prst="rect">
            <a:avLst/>
          </a:prstGeom>
        </p:spPr>
      </p:pic>
      <p:sp>
        <p:nvSpPr>
          <p:cNvPr id="7" name="Заголовок 1">
            <a:extLst>
              <a:ext uri="{FF2B5EF4-FFF2-40B4-BE49-F238E27FC236}">
                <a16:creationId xmlns:a16="http://schemas.microsoft.com/office/drawing/2014/main" xmlns="" id="{D2667DE2-D028-084B-842B-A0E0F4C9356C}"/>
              </a:ext>
            </a:extLst>
          </p:cNvPr>
          <p:cNvSpPr txBox="1">
            <a:spLocks/>
          </p:cNvSpPr>
          <p:nvPr/>
        </p:nvSpPr>
        <p:spPr>
          <a:xfrm>
            <a:off x="1115616" y="1268760"/>
            <a:ext cx="7776864" cy="10801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ru-RU"/>
            </a:defPPr>
            <a:lvl1pPr indent="0" algn="ctr">
              <a:spcBef>
                <a:spcPts val="0"/>
              </a:spcBef>
              <a:buFont typeface="Arial" pitchFamily="34" charset="0"/>
              <a:buNone/>
              <a:defRPr sz="3200" baseline="3000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defRPr>
            </a:lvl1pPr>
            <a:lvl2pPr marL="742950" indent="-28575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rgbClr val="69676D"/>
                </a:solidFill>
                <a:latin typeface="Circe"/>
              </a:defRPr>
            </a:lvl2pPr>
            <a:lvl3pPr marL="1143000" indent="-22860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rgbClr val="69676D"/>
                </a:solidFill>
                <a:latin typeface="Circe"/>
              </a:defRPr>
            </a:lvl3pPr>
            <a:lvl4pPr marL="1600200" indent="-22860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rgbClr val="69676D"/>
                </a:solidFill>
                <a:latin typeface="Circe"/>
              </a:defRPr>
            </a:lvl4pPr>
            <a:lvl5pPr marL="2057400" indent="-22860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rgbClr val="69676D"/>
                </a:solidFill>
                <a:latin typeface="Circe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r>
              <a:rPr lang="ru-RU" b="1" dirty="0">
                <a:solidFill>
                  <a:schemeClr val="tx1">
                    <a:lumMod val="65000"/>
                    <a:lumOff val="35000"/>
                  </a:schemeClr>
                </a:solidFill>
                <a:sym typeface="Calibri"/>
              </a:rPr>
              <a:t>Четыре шага ненасильственного общения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5931DA46-2FBF-4C46-B7C4-E2D1EE4F138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6103" y="1709909"/>
            <a:ext cx="5270313" cy="48154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233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55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2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2267744" y="1196752"/>
            <a:ext cx="4536504" cy="54006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sp>
        <p:nvSpPr>
          <p:cNvPr id="30" name="TextBox 29"/>
          <p:cNvSpPr txBox="1"/>
          <p:nvPr/>
        </p:nvSpPr>
        <p:spPr>
          <a:xfrm>
            <a:off x="6804248" y="4869160"/>
            <a:ext cx="2232248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500" b="1" kern="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ДРОМЕАС</a:t>
            </a:r>
            <a:r>
              <a:rPr lang="ru-RU" sz="1500" kern="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 </a:t>
            </a:r>
          </a:p>
          <a:p>
            <a:pPr algn="r"/>
            <a:r>
              <a:rPr lang="ru-RU" sz="1500" kern="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(в пер. с греч. — </a:t>
            </a:r>
            <a:r>
              <a:rPr lang="ru-RU" sz="1500" i="1" kern="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бегун</a:t>
            </a:r>
            <a:r>
              <a:rPr lang="ru-RU" sz="1500" kern="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). </a:t>
            </a:r>
          </a:p>
          <a:p>
            <a:pPr algn="r"/>
            <a:r>
              <a:rPr lang="ru-RU" sz="1500" kern="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Скульптор</a:t>
            </a:r>
          </a:p>
          <a:p>
            <a:pPr algn="r"/>
            <a:r>
              <a:rPr lang="ru-RU" sz="1500" kern="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 </a:t>
            </a:r>
            <a:r>
              <a:rPr lang="ru-RU" sz="1500" kern="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Костас</a:t>
            </a:r>
            <a:r>
              <a:rPr lang="ru-RU" sz="1500" kern="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 </a:t>
            </a:r>
            <a:r>
              <a:rPr lang="ru-RU" sz="1500" kern="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Варотсос</a:t>
            </a:r>
            <a:r>
              <a:rPr lang="ru-RU" sz="1500" kern="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. Металл, стекло. 1988. Афины, Греция</a:t>
            </a:r>
          </a:p>
          <a:p>
            <a:pPr algn="r"/>
            <a:endParaRPr lang="en-US" sz="1500" b="1" u="sng" kern="0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  <a:p>
            <a:pPr algn="r"/>
            <a:endParaRPr lang="ru-RU" dirty="0"/>
          </a:p>
        </p:txBody>
      </p:sp>
      <p:pic>
        <p:nvPicPr>
          <p:cNvPr id="31" name="Рисунок 30" descr="slide_13_Sberbank_Depositphotos_167840930_ds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339751" y="1268760"/>
            <a:ext cx="4392489" cy="5231130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410957852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52582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6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2051720" y="1221577"/>
            <a:ext cx="5040560" cy="4727703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pic>
        <p:nvPicPr>
          <p:cNvPr id="28" name="Рисунок 27" descr="slide_14_sberbank_Depositphotos_268774778_ds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123728" y="1293586"/>
            <a:ext cx="4896544" cy="454981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17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67544" y="6202179"/>
            <a:ext cx="8352928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СТРАННИК. 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Скульптор </a:t>
            </a:r>
            <a:r>
              <a:rPr lang="ru-RU" sz="150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Жауме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 </a:t>
            </a:r>
            <a:r>
              <a:rPr lang="ru-RU" sz="150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Пленса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. Металл. 2007. </a:t>
            </a:r>
            <a:r>
              <a:rPr lang="ru-RU" sz="150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Антиб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, Франция</a:t>
            </a:r>
            <a:endParaRPr lang="ru-RU" sz="1500" dirty="0">
              <a:latin typeface="Circe" pitchFamily="34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16369432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46209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0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Заголовок 10"/>
          <p:cNvSpPr txBox="1">
            <a:spLocks/>
          </p:cNvSpPr>
          <p:nvPr/>
        </p:nvSpPr>
        <p:spPr>
          <a:xfrm>
            <a:off x="457200" y="1124744"/>
            <a:ext cx="8229600" cy="638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22238" y="1412776"/>
            <a:ext cx="3921970" cy="511256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sp>
        <p:nvSpPr>
          <p:cNvPr id="27" name="TextBox 26"/>
          <p:cNvSpPr txBox="1"/>
          <p:nvPr/>
        </p:nvSpPr>
        <p:spPr>
          <a:xfrm>
            <a:off x="6444208" y="5277692"/>
            <a:ext cx="2516334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500" b="1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АЛИ И НИНО. </a:t>
            </a:r>
          </a:p>
          <a:p>
            <a:pPr algn="r"/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Скульптор </a:t>
            </a:r>
          </a:p>
          <a:p>
            <a:pPr algn="r"/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Тамара </a:t>
            </a:r>
            <a:r>
              <a:rPr lang="ru-RU" sz="150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Квеситадзе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. </a:t>
            </a:r>
          </a:p>
          <a:p>
            <a:pPr algn="r"/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Металл, стекло. 2007. </a:t>
            </a:r>
          </a:p>
          <a:p>
            <a:pPr algn="r"/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Батуми, Грузия</a:t>
            </a:r>
          </a:p>
          <a:p>
            <a:pPr algn="r"/>
            <a:endParaRPr lang="ru-RU" sz="1500" b="1" u="sng" dirty="0">
              <a:latin typeface="Circe" pitchFamily="34" charset="-52"/>
            </a:endParaRPr>
          </a:p>
          <a:p>
            <a:pPr algn="r"/>
            <a:endParaRPr lang="ru-RU" sz="1500" dirty="0">
              <a:latin typeface="Circe" pitchFamily="34" charset="-52"/>
            </a:endParaRPr>
          </a:p>
        </p:txBody>
      </p:sp>
      <p:pic>
        <p:nvPicPr>
          <p:cNvPr id="29" name="Рисунок 28" descr="slide_15_Sberbank_Depositphotos_28715005_ds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594246" y="1484783"/>
            <a:ext cx="3781900" cy="4938205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18</a:t>
            </a:r>
          </a:p>
        </p:txBody>
      </p:sp>
    </p:spTree>
    <p:extLst>
      <p:ext uri="{BB962C8B-B14F-4D97-AF65-F5344CB8AC3E}">
        <p14:creationId xmlns:p14="http://schemas.microsoft.com/office/powerpoint/2010/main" val="18322197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plane_1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5517232"/>
            <a:ext cx="1865376" cy="990600"/>
          </a:xfrm>
          <a:prstGeom prst="rect">
            <a:avLst/>
          </a:prstGeom>
        </p:spPr>
      </p:pic>
      <p:pic>
        <p:nvPicPr>
          <p:cNvPr id="9" name="Рисунок 8" descr="plan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020272" y="3717032"/>
            <a:ext cx="1883664" cy="1429512"/>
          </a:xfrm>
          <a:prstGeom prst="rect">
            <a:avLst/>
          </a:prstGeom>
        </p:spPr>
      </p:pic>
      <p:sp>
        <p:nvSpPr>
          <p:cNvPr id="21" name="Прямоугольник 20"/>
          <p:cNvSpPr/>
          <p:nvPr/>
        </p:nvSpPr>
        <p:spPr>
          <a:xfrm>
            <a:off x="1547664" y="1628800"/>
            <a:ext cx="6414440" cy="4879032"/>
          </a:xfrm>
          <a:prstGeom prst="rect">
            <a:avLst/>
          </a:prstGeom>
          <a:solidFill>
            <a:schemeClr val="bg1"/>
          </a:solidFill>
          <a:ln w="508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Содержимое 11"/>
          <p:cNvSpPr>
            <a:spLocks noGrp="1"/>
          </p:cNvSpPr>
          <p:nvPr>
            <p:ph idx="4294967295"/>
          </p:nvPr>
        </p:nvSpPr>
        <p:spPr>
          <a:xfrm>
            <a:off x="1547665" y="1342033"/>
            <a:ext cx="6414439" cy="358775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Правило «Пяти почему» </a:t>
            </a:r>
          </a:p>
        </p:txBody>
      </p:sp>
      <p:pic>
        <p:nvPicPr>
          <p:cNvPr id="14" name="Рисунок 13" descr="pochemu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763688" y="1837447"/>
            <a:ext cx="5937154" cy="4471873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427220935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6528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Заголовок 10"/>
          <p:cNvSpPr txBox="1">
            <a:spLocks/>
          </p:cNvSpPr>
          <p:nvPr/>
        </p:nvSpPr>
        <p:spPr>
          <a:xfrm>
            <a:off x="457200" y="1124744"/>
            <a:ext cx="8229600" cy="638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95648" y="1988839"/>
            <a:ext cx="7692776" cy="350239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0" y="1196752"/>
            <a:ext cx="1187624" cy="432048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26"/>
          <p:cNvSpPr txBox="1"/>
          <p:nvPr/>
        </p:nvSpPr>
        <p:spPr>
          <a:xfrm>
            <a:off x="1115616" y="5859607"/>
            <a:ext cx="7200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ЛАБИРИНТ СМЕХА. </a:t>
            </a:r>
          </a:p>
          <a:p>
            <a:pPr algn="ctr"/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Скульптор </a:t>
            </a:r>
            <a:r>
              <a:rPr lang="ru-RU" sz="150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Юэ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 </a:t>
            </a:r>
            <a:r>
              <a:rPr lang="ru-RU" sz="150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Миньцзюнь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. Металл. 2009. Ванкувер, Канада</a:t>
            </a:r>
          </a:p>
          <a:p>
            <a:pPr algn="ctr"/>
            <a:endParaRPr lang="ru-RU" sz="1500" b="1" u="sng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  <a:p>
            <a:pPr algn="ctr"/>
            <a:endParaRPr lang="ru-RU" sz="1500" dirty="0">
              <a:latin typeface="Circe" pitchFamily="34" charset="-52"/>
            </a:endParaRPr>
          </a:p>
        </p:txBody>
      </p:sp>
      <p:pic>
        <p:nvPicPr>
          <p:cNvPr id="28" name="Рисунок 27" descr="slide_16_sberbank_Depositphotos_160046064_ds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755576" y="2060848"/>
            <a:ext cx="7505775" cy="331236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19</a:t>
            </a:r>
          </a:p>
        </p:txBody>
      </p:sp>
    </p:spTree>
    <p:extLst>
      <p:ext uri="{BB962C8B-B14F-4D97-AF65-F5344CB8AC3E}">
        <p14:creationId xmlns:p14="http://schemas.microsoft.com/office/powerpoint/2010/main" val="38988839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2333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8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Заголовок 10"/>
          <p:cNvSpPr txBox="1">
            <a:spLocks/>
          </p:cNvSpPr>
          <p:nvPr/>
        </p:nvSpPr>
        <p:spPr>
          <a:xfrm>
            <a:off x="457200" y="1124744"/>
            <a:ext cx="8229600" cy="638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691680" y="1196752"/>
            <a:ext cx="5904656" cy="446449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pic>
        <p:nvPicPr>
          <p:cNvPr id="27" name="Рисунок 26" descr="slide_17_sberbank_Depositphotos_275406288_ds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1763688" y="1268759"/>
            <a:ext cx="5760640" cy="432048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1007604" y="5877272"/>
            <a:ext cx="72008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ВИСЯЩИЙ ЧЕЛОВЕК. </a:t>
            </a:r>
          </a:p>
          <a:p>
            <a:pPr algn="ctr"/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Скульптор Давид Черни. Металл. 1996. Прага, Чехия</a:t>
            </a:r>
          </a:p>
          <a:p>
            <a:pPr algn="ctr"/>
            <a:endParaRPr lang="ru-RU" sz="1500" b="1" u="sng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20</a:t>
            </a:r>
          </a:p>
        </p:txBody>
      </p:sp>
    </p:spTree>
    <p:extLst>
      <p:ext uri="{BB962C8B-B14F-4D97-AF65-F5344CB8AC3E}">
        <p14:creationId xmlns:p14="http://schemas.microsoft.com/office/powerpoint/2010/main" val="201124135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9940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1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Заголовок 10"/>
          <p:cNvSpPr txBox="1">
            <a:spLocks/>
          </p:cNvSpPr>
          <p:nvPr/>
        </p:nvSpPr>
        <p:spPr>
          <a:xfrm>
            <a:off x="457200" y="1124744"/>
            <a:ext cx="8229600" cy="63894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 algn="ctr">
              <a:spcBef>
                <a:spcPct val="0"/>
              </a:spcBef>
            </a:pPr>
            <a:endParaRPr kumimoji="0" lang="ru-RU" sz="3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915816" y="1412775"/>
            <a:ext cx="3384376" cy="50308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pic>
        <p:nvPicPr>
          <p:cNvPr id="22" name="Рисунок 21" descr="slide_18_sberbank_Depositphotos_244874468_ds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2987824" y="1484784"/>
            <a:ext cx="3240360" cy="4860540"/>
          </a:xfrm>
          <a:prstGeom prst="rect">
            <a:avLst/>
          </a:prstGeom>
        </p:spPr>
      </p:pic>
      <p:sp>
        <p:nvSpPr>
          <p:cNvPr id="28" name="TextBox 27"/>
          <p:cNvSpPr txBox="1"/>
          <p:nvPr/>
        </p:nvSpPr>
        <p:spPr>
          <a:xfrm>
            <a:off x="6623909" y="4793850"/>
            <a:ext cx="2448273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1500" b="1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МУЛЬТИКУЛЬТУРНЫЙ ЧЕЛОВЕК. </a:t>
            </a:r>
          </a:p>
          <a:p>
            <a:pPr algn="r"/>
            <a:r>
              <a:rPr lang="en-US" sz="1500" b="1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 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Скульптор </a:t>
            </a:r>
          </a:p>
          <a:p>
            <a:pPr algn="r"/>
            <a:r>
              <a:rPr lang="ru-RU" sz="150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Франческо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 </a:t>
            </a:r>
            <a:r>
              <a:rPr lang="ru-RU" sz="1500" dirty="0" err="1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Перилли</a:t>
            </a:r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. </a:t>
            </a:r>
          </a:p>
          <a:p>
            <a:pPr algn="r"/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Металл. 1997. </a:t>
            </a:r>
          </a:p>
          <a:p>
            <a:pPr algn="r"/>
            <a:r>
              <a:rPr lang="ru-RU" sz="1500" dirty="0">
                <a:solidFill>
                  <a:schemeClr val="accent6">
                    <a:lumMod val="75000"/>
                  </a:schemeClr>
                </a:solidFill>
                <a:latin typeface="Circe" pitchFamily="34" charset="-52"/>
              </a:rPr>
              <a:t>Сараево, Босния и Герцеговина</a:t>
            </a:r>
            <a:endParaRPr lang="ru-RU" sz="1500" b="1" u="sng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  <a:p>
            <a:pPr algn="r"/>
            <a:endParaRPr lang="ru-RU" sz="1500" dirty="0">
              <a:latin typeface="Circe" pitchFamily="34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21</a:t>
            </a:r>
          </a:p>
        </p:txBody>
      </p:sp>
    </p:spTree>
    <p:extLst>
      <p:ext uri="{BB962C8B-B14F-4D97-AF65-F5344CB8AC3E}">
        <p14:creationId xmlns:p14="http://schemas.microsoft.com/office/powerpoint/2010/main" val="289563518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1547664" y="1412776"/>
            <a:ext cx="6192688" cy="46805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1600" baseline="0" dirty="0"/>
              <a:t>Портрет Клетчатого. Из к/ф «Принц </a:t>
            </a:r>
            <a:r>
              <a:rPr lang="ru-RU" sz="1600" baseline="0" dirty="0" err="1"/>
              <a:t>Флоризель</a:t>
            </a:r>
            <a:r>
              <a:rPr lang="ru-RU" sz="1600" baseline="0" dirty="0"/>
              <a:t> (</a:t>
            </a:r>
            <a:r>
              <a:rPr lang="ru-RU" sz="1600" baseline="0" dirty="0" err="1"/>
              <a:t>реж</a:t>
            </a:r>
            <a:r>
              <a:rPr lang="ru-RU" sz="1600" baseline="0" dirty="0"/>
              <a:t>. Е. Татарский, 1979)</a:t>
            </a:r>
            <a:endParaRPr lang="ru-RU" sz="16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22</a:t>
            </a:r>
          </a:p>
        </p:txBody>
      </p:sp>
      <p:pic>
        <p:nvPicPr>
          <p:cNvPr id="23554" name="Picture 2" descr="https://artchive.ru/res/media/img/ox800/article/811/534832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1517" y="1484784"/>
            <a:ext cx="6010275" cy="4505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0444783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4383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4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23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AF74E4D8-3C35-2F4D-BD12-F7D2DE8084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72816"/>
            <a:ext cx="9144000" cy="44414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08147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 descr="ship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3568" y="6021288"/>
            <a:ext cx="2801112" cy="569976"/>
          </a:xfrm>
          <a:prstGeom prst="rect">
            <a:avLst/>
          </a:prstGeom>
        </p:spPr>
      </p:pic>
      <p:sp>
        <p:nvSpPr>
          <p:cNvPr id="16" name="Содержимое 11"/>
          <p:cNvSpPr>
            <a:spLocks noGrp="1"/>
          </p:cNvSpPr>
          <p:nvPr>
            <p:ph idx="4294967295"/>
          </p:nvPr>
        </p:nvSpPr>
        <p:spPr>
          <a:xfrm>
            <a:off x="1331640" y="1268760"/>
            <a:ext cx="6620464" cy="360040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Базовые механизмы </a:t>
            </a:r>
            <a:r>
              <a:rPr lang="ru-RU" b="1" baseline="30000" dirty="0" err="1">
                <a:solidFill>
                  <a:schemeClr val="tx2"/>
                </a:solidFill>
                <a:latin typeface="Circe" pitchFamily="34" charset="-52"/>
              </a:rPr>
              <a:t>самодетерминации</a:t>
            </a:r>
            <a:endParaRPr lang="ru-RU" b="1" baseline="30000" dirty="0">
              <a:solidFill>
                <a:schemeClr val="tx2"/>
              </a:solidFill>
              <a:latin typeface="Circe" pitchFamily="34" charset="-52"/>
            </a:endParaRPr>
          </a:p>
        </p:txBody>
      </p:sp>
      <p:pic>
        <p:nvPicPr>
          <p:cNvPr id="9" name="Рисунок 8" descr="slide_3a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56979" y="2583254"/>
            <a:ext cx="8091485" cy="329401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24</a:t>
            </a:r>
          </a:p>
        </p:txBody>
      </p:sp>
    </p:spTree>
    <p:extLst>
      <p:ext uri="{BB962C8B-B14F-4D97-AF65-F5344CB8AC3E}">
        <p14:creationId xmlns:p14="http://schemas.microsoft.com/office/powerpoint/2010/main" val="514470731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2915816" y="2708920"/>
            <a:ext cx="4176464" cy="8640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одержимое 11"/>
          <p:cNvSpPr>
            <a:spLocks noGrp="1"/>
          </p:cNvSpPr>
          <p:nvPr>
            <p:ph idx="4294967295"/>
          </p:nvPr>
        </p:nvSpPr>
        <p:spPr>
          <a:xfrm>
            <a:off x="1341640" y="1340768"/>
            <a:ext cx="6620464" cy="360040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Условия оптимального развития ребён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D771504-154C-45A0-83BA-8CDCF208AE9B}" type="slidenum">
              <a:rPr lang="ru-RU" smtClean="0"/>
              <a:pPr/>
              <a:t>26</a:t>
            </a:fld>
            <a:endParaRPr lang="ru-RU" dirty="0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FC9C2F35-F68D-EF45-B061-1BEDF6A29D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239" y="2060848"/>
            <a:ext cx="7727521" cy="3803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80363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одержимое 11"/>
          <p:cNvSpPr>
            <a:spLocks noGrp="1"/>
          </p:cNvSpPr>
          <p:nvPr>
            <p:ph idx="4294967295"/>
          </p:nvPr>
        </p:nvSpPr>
        <p:spPr>
          <a:xfrm>
            <a:off x="683568" y="1278912"/>
            <a:ext cx="7628576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От стимула к результату</a:t>
            </a:r>
          </a:p>
        </p:txBody>
      </p:sp>
      <p:pic>
        <p:nvPicPr>
          <p:cNvPr id="9" name="Рисунок 8" descr="ship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83568" y="6093296"/>
            <a:ext cx="2801112" cy="569976"/>
          </a:xfrm>
          <a:prstGeom prst="rect">
            <a:avLst/>
          </a:prstGeom>
        </p:spPr>
      </p:pic>
      <p:pic>
        <p:nvPicPr>
          <p:cNvPr id="14" name="Рисунок 13" descr="slide_6a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56782" y="2625848"/>
            <a:ext cx="8535698" cy="2387328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7920778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823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2765962" y="1196752"/>
            <a:ext cx="3894270" cy="4968552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1" name="Picture 2" descr="C:\Users\Алексей\Desktop\Василиса\37656\presentation\pigmalion.tif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8238" y="1268760"/>
            <a:ext cx="3759986" cy="48436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3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539552" y="6204312"/>
            <a:ext cx="8352928" cy="432050"/>
          </a:xfrm>
        </p:spPr>
        <p:txBody>
          <a:bodyPr>
            <a:normAutofit/>
          </a:bodyPr>
          <a:lstStyle/>
          <a:p>
            <a:r>
              <a:rPr lang="ru-RU" sz="1600" i="1" baseline="0" dirty="0" smtClean="0"/>
              <a:t>Луи </a:t>
            </a:r>
            <a:r>
              <a:rPr lang="ru-RU" sz="1600" i="1" baseline="0" dirty="0" err="1"/>
              <a:t>Гофье</a:t>
            </a:r>
            <a:r>
              <a:rPr lang="ru-RU" sz="1600" i="1" baseline="0" dirty="0"/>
              <a:t>.</a:t>
            </a:r>
            <a:r>
              <a:rPr lang="ru-RU" sz="1600" baseline="0" dirty="0"/>
              <a:t> </a:t>
            </a:r>
            <a:r>
              <a:rPr lang="ru-RU" sz="1600" baseline="0" dirty="0" err="1"/>
              <a:t>Пигмалион</a:t>
            </a:r>
            <a:r>
              <a:rPr lang="ru-RU" sz="1600" baseline="0" dirty="0"/>
              <a:t> и Галатея. 1797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758683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621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0" name="Слайд think-cell" r:id="rId4" imgW="353" imgH="353" progId="TCLayout.ActiveDocument.1">
                  <p:embed/>
                </p:oleObj>
              </mc:Choice>
              <mc:Fallback>
                <p:oleObj name="Слайд think-cell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рямоугольник 13"/>
          <p:cNvSpPr/>
          <p:nvPr/>
        </p:nvSpPr>
        <p:spPr>
          <a:xfrm>
            <a:off x="2987824" y="1340768"/>
            <a:ext cx="3024336" cy="396044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/>
              <a:t>4</a:t>
            </a:r>
          </a:p>
        </p:txBody>
      </p:sp>
      <p:sp>
        <p:nvSpPr>
          <p:cNvPr id="16" name="Содержимое 11"/>
          <p:cNvSpPr>
            <a:spLocks noGrp="1"/>
          </p:cNvSpPr>
          <p:nvPr>
            <p:ph idx="4294967295"/>
          </p:nvPr>
        </p:nvSpPr>
        <p:spPr>
          <a:xfrm>
            <a:off x="2987972" y="5638800"/>
            <a:ext cx="3024188" cy="349250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aseline="30000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Роберт Розенталь</a:t>
            </a:r>
            <a:endParaRPr lang="en-US" baseline="30000" dirty="0">
              <a:solidFill>
                <a:schemeClr val="tx2"/>
              </a:solidFill>
              <a:latin typeface="Fedra Sans Pro Book" pitchFamily="34" charset="0"/>
              <a:ea typeface="Fedra Sans Pro Book" pitchFamily="34" charset="0"/>
            </a:endParaRPr>
          </a:p>
          <a:p>
            <a:pPr marL="0" indent="0" algn="ctr">
              <a:spcBef>
                <a:spcPts val="0"/>
              </a:spcBef>
              <a:buNone/>
            </a:pPr>
            <a:r>
              <a:rPr lang="ru-RU" baseline="30000" dirty="0">
                <a:solidFill>
                  <a:schemeClr val="tx2"/>
                </a:solidFill>
                <a:latin typeface="Fedra Sans Pro Book" pitchFamily="34" charset="0"/>
                <a:ea typeface="Fedra Sans Pro Book" pitchFamily="34" charset="0"/>
              </a:rPr>
              <a:t>(род. 1933)</a:t>
            </a:r>
          </a:p>
        </p:txBody>
      </p:sp>
      <p:pic>
        <p:nvPicPr>
          <p:cNvPr id="30" name="Рисунок 29" descr="rosenthal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059832" y="1464210"/>
            <a:ext cx="2880320" cy="37649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228894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Содержимое 11"/>
          <p:cNvSpPr>
            <a:spLocks noGrp="1"/>
          </p:cNvSpPr>
          <p:nvPr>
            <p:ph idx="4294967295"/>
          </p:nvPr>
        </p:nvSpPr>
        <p:spPr>
          <a:xfrm>
            <a:off x="1623956" y="1267659"/>
            <a:ext cx="5758504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Эффект </a:t>
            </a:r>
            <a:r>
              <a:rPr lang="ru-RU" b="1" baseline="30000" dirty="0" err="1">
                <a:solidFill>
                  <a:schemeClr val="tx2"/>
                </a:solidFill>
                <a:latin typeface="Circe" pitchFamily="34" charset="-52"/>
              </a:rPr>
              <a:t>Пигмалиона</a:t>
            </a: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 – Розенталя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5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xmlns="" id="{ADCEEFC0-DC2B-8F4D-BE17-716B1D41222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4876" y="1758633"/>
            <a:ext cx="5976664" cy="46986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90332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descr="ship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83568" y="6093296"/>
            <a:ext cx="2801112" cy="569976"/>
          </a:xfrm>
          <a:prstGeom prst="rect">
            <a:avLst/>
          </a:prstGeom>
        </p:spPr>
      </p:pic>
      <p:pic>
        <p:nvPicPr>
          <p:cNvPr id="18" name="Рисунок 17" descr="slide_6b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23528" y="2918452"/>
            <a:ext cx="8555197" cy="2382756"/>
          </a:xfrm>
          <a:prstGeom prst="rect">
            <a:avLst/>
          </a:prstGeom>
        </p:spPr>
      </p:pic>
      <p:sp>
        <p:nvSpPr>
          <p:cNvPr id="10" name="Содержимое 11"/>
          <p:cNvSpPr>
            <a:spLocks noGrp="1"/>
          </p:cNvSpPr>
          <p:nvPr>
            <p:ph idx="4294967295"/>
          </p:nvPr>
        </p:nvSpPr>
        <p:spPr>
          <a:xfrm>
            <a:off x="683568" y="1278912"/>
            <a:ext cx="7628576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От стимула к результату.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Что влияет на эмоциональную реакцию?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99079773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slide_2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09998" y="1831070"/>
            <a:ext cx="6230353" cy="4550258"/>
          </a:xfrm>
          <a:prstGeom prst="rect">
            <a:avLst/>
          </a:prstGeom>
        </p:spPr>
      </p:pic>
      <p:sp>
        <p:nvSpPr>
          <p:cNvPr id="14" name="Содержимое 11"/>
          <p:cNvSpPr>
            <a:spLocks noGrp="1"/>
          </p:cNvSpPr>
          <p:nvPr>
            <p:ph idx="4294967295"/>
          </p:nvPr>
        </p:nvSpPr>
        <p:spPr>
          <a:xfrm>
            <a:off x="1623956" y="1267659"/>
            <a:ext cx="5758504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Треугольник управления эмоциями</a:t>
            </a:r>
          </a:p>
          <a:p>
            <a:pPr marL="0" indent="0" algn="ctr">
              <a:spcBef>
                <a:spcPts val="0"/>
              </a:spcBef>
              <a:buNone/>
            </a:pPr>
            <a:endParaRPr lang="ru-RU" b="1" baseline="30000" dirty="0">
              <a:solidFill>
                <a:schemeClr val="tx1">
                  <a:lumMod val="75000"/>
                  <a:lumOff val="25000"/>
                </a:schemeClr>
              </a:solidFill>
              <a:latin typeface="Circe" pitchFamily="34" charset="-52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7</a:t>
            </a:r>
          </a:p>
        </p:txBody>
      </p:sp>
    </p:spTree>
    <p:extLst>
      <p:ext uri="{BB962C8B-B14F-4D97-AF65-F5344CB8AC3E}">
        <p14:creationId xmlns:p14="http://schemas.microsoft.com/office/powerpoint/2010/main" val="30304526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Прямоугольник 30"/>
          <p:cNvSpPr/>
          <p:nvPr/>
        </p:nvSpPr>
        <p:spPr>
          <a:xfrm>
            <a:off x="4860032" y="2132856"/>
            <a:ext cx="3168352" cy="36004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1115616" y="2132856"/>
            <a:ext cx="3456384" cy="36004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aseline="-25000" dirty="0"/>
          </a:p>
        </p:txBody>
      </p:sp>
      <p:sp>
        <p:nvSpPr>
          <p:cNvPr id="16" name="Содержимое 11"/>
          <p:cNvSpPr>
            <a:spLocks noGrp="1"/>
          </p:cNvSpPr>
          <p:nvPr>
            <p:ph idx="4294967295"/>
          </p:nvPr>
        </p:nvSpPr>
        <p:spPr>
          <a:xfrm>
            <a:off x="1007604" y="1278912"/>
            <a:ext cx="7412552" cy="349888"/>
          </a:xfrm>
        </p:spPr>
        <p:txBody>
          <a:bodyPr>
            <a:no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b="1" baseline="30000" dirty="0">
                <a:solidFill>
                  <a:schemeClr val="tx2"/>
                </a:solidFill>
                <a:latin typeface="Circe" pitchFamily="34" charset="-52"/>
              </a:rPr>
              <a:t>Будь собой! </a:t>
            </a:r>
          </a:p>
        </p:txBody>
      </p:sp>
      <p:pic>
        <p:nvPicPr>
          <p:cNvPr id="21" name="Рисунок 20" descr="ship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83568" y="6021288"/>
            <a:ext cx="2801112" cy="569976"/>
          </a:xfrm>
          <a:prstGeom prst="rect">
            <a:avLst/>
          </a:prstGeom>
        </p:spPr>
      </p:pic>
      <p:pic>
        <p:nvPicPr>
          <p:cNvPr id="28" name="Рисунок 27" descr="Depositphotos_29609373_ds_SBERBANK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187624" y="2204865"/>
            <a:ext cx="3312368" cy="3429000"/>
          </a:xfrm>
          <a:prstGeom prst="rect">
            <a:avLst/>
          </a:prstGeom>
        </p:spPr>
      </p:pic>
      <p:pic>
        <p:nvPicPr>
          <p:cNvPr id="29" name="Рисунок 28" descr="Depositphotos_26528647_ds_SBERBANK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932040" y="2204864"/>
            <a:ext cx="3010466" cy="3428999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ru-RU" dirty="0"/>
              <a:t>8</a:t>
            </a:r>
          </a:p>
        </p:txBody>
      </p:sp>
    </p:spTree>
    <p:extLst>
      <p:ext uri="{BB962C8B-B14F-4D97-AF65-F5344CB8AC3E}">
        <p14:creationId xmlns:p14="http://schemas.microsoft.com/office/powerpoint/2010/main" val="22829001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_3UDQwXmwMjZ7Nc4js8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ZhuS5myK5QPs8PBbgcI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J0jBEHUo2aD8ZqIKSIu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1nPeLN4.apE_t1N5tuM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_3UDQwXmwMjZ7Nc4js8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B_3UDQwXmwMjZ7Nc4js8g"/>
</p:tagLst>
</file>

<file path=ppt/theme/theme1.xml><?xml version="1.0" encoding="utf-8"?>
<a:theme xmlns:a="http://schemas.openxmlformats.org/drawingml/2006/main" name="Тема Office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086</TotalTime>
  <Words>589</Words>
  <Application>Microsoft Office PowerPoint</Application>
  <PresentationFormat>Экран (4:3)</PresentationFormat>
  <Paragraphs>89</Paragraphs>
  <Slides>26</Slides>
  <Notes>1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28" baseType="lpstr">
      <vt:lpstr>Тема Office</vt:lpstr>
      <vt:lpstr>Слайд think-cell</vt:lpstr>
      <vt:lpstr>ПРОГРАММА  РАЗВИТИЕ ЛИЧНОСТНОГО ПОТЕНЦИАЛА ПОДРОСТКОВ </vt:lpstr>
      <vt:lpstr>Презентация PowerPoint</vt:lpstr>
      <vt:lpstr>Презентация PowerPoint</vt:lpstr>
      <vt:lpstr>Луи Гофье. Пигмалион и Галатея. 1797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ортрет Клетчатого. Из к/ф «Принц Флоризель (реж. Е. Татарский, 1979)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OvcharovaLA</dc:creator>
  <cp:lastModifiedBy>Алексей</cp:lastModifiedBy>
  <cp:revision>262</cp:revision>
  <dcterms:created xsi:type="dcterms:W3CDTF">2019-01-24T08:30:59Z</dcterms:created>
  <dcterms:modified xsi:type="dcterms:W3CDTF">2020-06-07T18:10:11Z</dcterms:modified>
</cp:coreProperties>
</file>